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4" r:id="rId2"/>
  </p:sldMasterIdLst>
  <p:notesMasterIdLst>
    <p:notesMasterId r:id="rId7"/>
  </p:notesMasterIdLst>
  <p:sldIdLst>
    <p:sldId id="256" r:id="rId3"/>
    <p:sldId id="259" r:id="rId4"/>
    <p:sldId id="260" r:id="rId5"/>
    <p:sldId id="261" r:id="rId6"/>
  </p:sldIdLst>
  <p:sldSz cx="9144000" cy="5143500" type="screen16x9"/>
  <p:notesSz cx="9144000" cy="6858000"/>
  <p:defaultTextStyle>
    <a:defPPr>
      <a:defRPr lang="es-ES"/>
    </a:defPPr>
    <a:lvl1pPr marL="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1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4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056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079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088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098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12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137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87" autoAdjust="0"/>
    <p:restoredTop sz="94622" autoAdjust="0"/>
  </p:normalViewPr>
  <p:slideViewPr>
    <p:cSldViewPr>
      <p:cViewPr varScale="1">
        <p:scale>
          <a:sx n="147" d="100"/>
          <a:sy n="147" d="100"/>
        </p:scale>
        <p:origin x="-642" y="-10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EBDB7E-22A8-4EDB-9E23-57D60215A7DB}" type="datetimeFigureOut">
              <a:rPr lang="es-ES" smtClean="0"/>
              <a:t>22/05/2021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32C47F-E456-4451-9F97-A452074FCCE7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317614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1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4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056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079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088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098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12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137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7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4836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04531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30 Rectángulo"/>
          <p:cNvSpPr/>
          <p:nvPr userDrawn="1"/>
        </p:nvSpPr>
        <p:spPr>
          <a:xfrm>
            <a:off x="4572000" y="2915765"/>
            <a:ext cx="4387002" cy="19153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s-ES">
              <a:solidFill>
                <a:srgbClr val="FFFFFF"/>
              </a:solidFill>
            </a:endParaRPr>
          </a:p>
        </p:txBody>
      </p:sp>
      <p:sp>
        <p:nvSpPr>
          <p:cNvPr id="12" name="Espace réservé de la date 6"/>
          <p:cNvSpPr txBox="1">
            <a:spLocks/>
          </p:cNvSpPr>
          <p:nvPr userDrawn="1"/>
        </p:nvSpPr>
        <p:spPr bwMode="gray">
          <a:xfrm>
            <a:off x="152400" y="4956175"/>
            <a:ext cx="358776" cy="3397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mtClean="0">
                <a:solidFill>
                  <a:srgbClr val="FFFFFF">
                    <a:alpha val="0"/>
                  </a:srgbClr>
                </a:solidFill>
              </a:rPr>
              <a:t>Date</a:t>
            </a:r>
            <a:endParaRPr lang="en-US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3" name="12 Rectángulo"/>
          <p:cNvSpPr/>
          <p:nvPr userDrawn="1"/>
        </p:nvSpPr>
        <p:spPr>
          <a:xfrm>
            <a:off x="185002" y="581598"/>
            <a:ext cx="8774003" cy="345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s-ES">
              <a:solidFill>
                <a:srgbClr val="FFFFFF"/>
              </a:solidFill>
            </a:endParaRP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31788" y="624168"/>
            <a:ext cx="5752380" cy="26025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Project Name</a:t>
            </a:r>
            <a:endParaRPr lang="en-US" noProof="0" dirty="0"/>
          </a:p>
        </p:txBody>
      </p:sp>
      <p:sp>
        <p:nvSpPr>
          <p:cNvPr id="15" name="Espace réservé pour une image 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185908" y="983404"/>
            <a:ext cx="4331048" cy="1932362"/>
          </a:xfrm>
          <a:solidFill>
            <a:srgbClr val="EAEAEA"/>
          </a:solidFill>
        </p:spPr>
        <p:txBody>
          <a:bodyPr tIns="404970" anchor="ctr" anchorCtr="0"/>
          <a:lstStyle>
            <a:lvl1pPr>
              <a:defRPr/>
            </a:lvl1pPr>
          </a:lstStyle>
          <a:p>
            <a:r>
              <a:rPr lang="en-US" noProof="0" dirty="0" smtClean="0"/>
              <a:t>Select the icon to insert a picture</a:t>
            </a:r>
            <a:endParaRPr lang="en-US" noProof="0" dirty="0"/>
          </a:p>
        </p:txBody>
      </p:sp>
      <p:sp>
        <p:nvSpPr>
          <p:cNvPr id="16" name="12 Marcador de texto"/>
          <p:cNvSpPr>
            <a:spLocks noGrp="1"/>
          </p:cNvSpPr>
          <p:nvPr>
            <p:ph type="body" sz="quarter" idx="15" hasCustomPrompt="1"/>
          </p:nvPr>
        </p:nvSpPr>
        <p:spPr>
          <a:xfrm>
            <a:off x="6494154" y="624168"/>
            <a:ext cx="2290618" cy="260255"/>
          </a:xfrm>
        </p:spPr>
        <p:txBody>
          <a:bodyPr anchor="ctr" anchorCtr="0"/>
          <a:lstStyle>
            <a:lvl1pPr marL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1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s-ES_tradnl" smtClean="0"/>
              <a:t>CLIENT</a:t>
            </a:r>
            <a:endParaRPr lang="es-ES"/>
          </a:p>
        </p:txBody>
      </p:sp>
      <p:sp>
        <p:nvSpPr>
          <p:cNvPr id="17" name="1 Título"/>
          <p:cNvSpPr txBox="1">
            <a:spLocks/>
          </p:cNvSpPr>
          <p:nvPr userDrawn="1"/>
        </p:nvSpPr>
        <p:spPr bwMode="gray">
          <a:xfrm>
            <a:off x="6786399" y="192665"/>
            <a:ext cx="1674037" cy="2168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500" b="1" i="0" u="none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_tradnl" sz="1200" smtClean="0">
                <a:solidFill>
                  <a:srgbClr val="FFFFFF">
                    <a:lumMod val="75000"/>
                  </a:srgbClr>
                </a:solidFill>
              </a:rPr>
              <a:t>Project Reference</a:t>
            </a:r>
            <a:endParaRPr lang="es-ES" sz="120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746948" y="1047068"/>
            <a:ext cx="4037827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3" name="Espace réservé du texte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746945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97077" y="192663"/>
            <a:ext cx="4806972" cy="218848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200" b="1" i="0" u="none" noProof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ct val="90000"/>
              </a:lnSpc>
              <a:spcBef>
                <a:spcPct val="0"/>
              </a:spcBef>
            </a:pPr>
            <a:r>
              <a:rPr lang="en-US" noProof="0" smtClean="0"/>
              <a:t>INDUSTRY NAME</a:t>
            </a:r>
            <a:endParaRPr lang="en-US" noProof="0" dirty="0" smtClean="0"/>
          </a:p>
        </p:txBody>
      </p:sp>
      <p:sp>
        <p:nvSpPr>
          <p:cNvPr id="24" name="Rectangle 57">
            <a:extLst>
              <a:ext uri="{FF2B5EF4-FFF2-40B4-BE49-F238E27FC236}">
                <a16:creationId xmlns="" xmlns:a16="http://schemas.microsoft.com/office/drawing/2014/main" id="{E84F61DF-65CA-45BF-9A0B-34B97F6A97EA}"/>
              </a:ext>
            </a:extLst>
          </p:cNvPr>
          <p:cNvSpPr/>
          <p:nvPr userDrawn="1"/>
        </p:nvSpPr>
        <p:spPr>
          <a:xfrm>
            <a:off x="129955" y="519525"/>
            <a:ext cx="8884097" cy="4374175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26" name="Espace réservé du texte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35208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0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46949" y="1340857"/>
            <a:ext cx="4034147" cy="142177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22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54" indent="-13453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5974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32" indent="-130960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46945" y="3352424"/>
            <a:ext cx="4037112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22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54" indent="-13453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5974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32" indent="-130960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30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5208" y="3352424"/>
            <a:ext cx="4032448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22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54" indent="-13453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5974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32" indent="-130960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40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4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1773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0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4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170512" y="861455"/>
            <a:ext cx="8775000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35073127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2" y="1653989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5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0512" y="0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55512" y="1653989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08234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3" y="1653989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3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35019" y="1653989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5019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88094" y="1653989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8094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6713414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689999" cy="32146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689999" cy="859631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155" y="0"/>
            <a:ext cx="7783283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0" y="1361513"/>
            <a:ext cx="8775000" cy="3350700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731155" y="861455"/>
            <a:ext cx="8205677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57"/>
            <a:ext cx="685800" cy="685800"/>
          </a:xfrm>
        </p:spPr>
        <p:txBody>
          <a:bodyPr anchor="ctr">
            <a:norm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GB" sz="3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25054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=""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3903009" cy="2339789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 dirty="0">
              <a:solidFill>
                <a:srgbClr val="FFFFFF"/>
              </a:solidFill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=""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47" y="3958819"/>
            <a:ext cx="2472485" cy="248990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47" y="2937263"/>
            <a:ext cx="2472485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5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=""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561" y="3258073"/>
            <a:ext cx="2478108" cy="67113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=""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6561" y="4201048"/>
            <a:ext cx="2473271" cy="535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=""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035894" y="860276"/>
            <a:ext cx="1956917" cy="1849272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4202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6791325" y="4867275"/>
            <a:ext cx="2352675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3" name="Freeform: Shape 9">
            <a:extLst>
              <a:ext uri="{FF2B5EF4-FFF2-40B4-BE49-F238E27FC236}">
                <a16:creationId xmlns="" xmlns:a16="http://schemas.microsoft.com/office/drawing/2014/main" id="{531E77B6-0DD5-446F-A826-892DFC23D785}"/>
              </a:ext>
            </a:extLst>
          </p:cNvPr>
          <p:cNvSpPr>
            <a:spLocks/>
          </p:cNvSpPr>
          <p:nvPr userDrawn="1"/>
        </p:nvSpPr>
        <p:spPr bwMode="auto">
          <a:xfrm rot="16200000" flipH="1">
            <a:off x="4199166" y="209551"/>
            <a:ext cx="5154385" cy="4735284"/>
          </a:xfrm>
          <a:custGeom>
            <a:avLst/>
            <a:gdLst>
              <a:gd name="connsiteX0" fmla="*/ 1393480 w 6857999"/>
              <a:gd name="connsiteY0" fmla="*/ 6240016 h 6240016"/>
              <a:gd name="connsiteX1" fmla="*/ 6857999 w 6857999"/>
              <a:gd name="connsiteY1" fmla="*/ 6240016 h 6240016"/>
              <a:gd name="connsiteX2" fmla="*/ 6857999 w 6857999"/>
              <a:gd name="connsiteY2" fmla="*/ 4248395 h 6240016"/>
              <a:gd name="connsiteX3" fmla="*/ 6815497 w 6857999"/>
              <a:gd name="connsiteY3" fmla="*/ 4209614 h 6240016"/>
              <a:gd name="connsiteX4" fmla="*/ 2767903 w 6857999"/>
              <a:gd name="connsiteY4" fmla="*/ 5342723 h 6240016"/>
              <a:gd name="connsiteX5" fmla="*/ 1497189 w 6857999"/>
              <a:gd name="connsiteY5" fmla="*/ 6201822 h 6240016"/>
              <a:gd name="connsiteX6" fmla="*/ 0 w 6857999"/>
              <a:gd name="connsiteY6" fmla="*/ 618342 h 6240016"/>
              <a:gd name="connsiteX7" fmla="*/ 0 w 6857999"/>
              <a:gd name="connsiteY7" fmla="*/ 6240016 h 6240016"/>
              <a:gd name="connsiteX8" fmla="*/ 921827 w 6857999"/>
              <a:gd name="connsiteY8" fmla="*/ 6240016 h 6240016"/>
              <a:gd name="connsiteX9" fmla="*/ 877464 w 6857999"/>
              <a:gd name="connsiteY9" fmla="*/ 6206986 h 6240016"/>
              <a:gd name="connsiteX10" fmla="*/ 1720124 w 6857999"/>
              <a:gd name="connsiteY10" fmla="*/ 3319666 h 6240016"/>
              <a:gd name="connsiteX11" fmla="*/ 1778012 w 6857999"/>
              <a:gd name="connsiteY11" fmla="*/ 0 h 6240016"/>
              <a:gd name="connsiteX12" fmla="*/ 36658 w 6857999"/>
              <a:gd name="connsiteY12" fmla="*/ 619001 h 6240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857999" h="6240016">
                <a:moveTo>
                  <a:pt x="1393480" y="6240016"/>
                </a:moveTo>
                <a:lnTo>
                  <a:pt x="6857999" y="6240016"/>
                </a:lnTo>
                <a:lnTo>
                  <a:pt x="6857999" y="4248395"/>
                </a:lnTo>
                <a:lnTo>
                  <a:pt x="6815497" y="4209614"/>
                </a:lnTo>
                <a:cubicBezTo>
                  <a:pt x="6548465" y="3983120"/>
                  <a:pt x="5320780" y="3210409"/>
                  <a:pt x="2767903" y="5342723"/>
                </a:cubicBezTo>
                <a:cubicBezTo>
                  <a:pt x="2220316" y="5799647"/>
                  <a:pt x="1804503" y="6071896"/>
                  <a:pt x="1497189" y="6201822"/>
                </a:cubicBezTo>
                <a:close/>
                <a:moveTo>
                  <a:pt x="0" y="618342"/>
                </a:moveTo>
                <a:lnTo>
                  <a:pt x="0" y="6240016"/>
                </a:lnTo>
                <a:lnTo>
                  <a:pt x="921827" y="6240016"/>
                </a:lnTo>
                <a:lnTo>
                  <a:pt x="877464" y="6206986"/>
                </a:lnTo>
                <a:cubicBezTo>
                  <a:pt x="498816" y="5832433"/>
                  <a:pt x="1067071" y="4347112"/>
                  <a:pt x="1720124" y="3319666"/>
                </a:cubicBezTo>
                <a:cubicBezTo>
                  <a:pt x="2767903" y="1675751"/>
                  <a:pt x="2938674" y="700400"/>
                  <a:pt x="1778012" y="0"/>
                </a:cubicBezTo>
                <a:cubicBezTo>
                  <a:pt x="950209" y="451498"/>
                  <a:pt x="400993" y="607786"/>
                  <a:pt x="36658" y="61900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pPr defTabSz="685800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803571" y="4987996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800"/>
            <a:fld id="{0502E5A9-B53C-401E-A0E0-4A359BB0A9E5}" type="slidenum">
              <a:rPr lang="en-US" sz="60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</a:rPr>
              <a:pPr algn="r" defTabSz="685800"/>
              <a:t>‹Nº›</a:t>
            </a:fld>
            <a:endParaRPr lang="en-US" sz="600" dirty="0">
              <a:solidFill>
                <a:srgbClr val="FFFFFF">
                  <a:lumMod val="5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803246" y="4987996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800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50000"/>
                  </a:srgbClr>
                </a:solidFill>
              </a:rPr>
              <a:t>© Capgemini 2021. All rights reserved |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-1"/>
            <a:ext cx="4227317" cy="1338943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Freeform 13"/>
          <p:cNvSpPr>
            <a:spLocks/>
          </p:cNvSpPr>
          <p:nvPr userDrawn="1"/>
        </p:nvSpPr>
        <p:spPr bwMode="auto">
          <a:xfrm>
            <a:off x="8733482" y="250782"/>
            <a:ext cx="206922" cy="169639"/>
          </a:xfrm>
          <a:custGeom>
            <a:avLst/>
            <a:gdLst/>
            <a:ahLst/>
            <a:cxnLst>
              <a:cxn ang="0">
                <a:pos x="125" y="107"/>
              </a:cxn>
              <a:cxn ang="0">
                <a:pos x="188" y="43"/>
              </a:cxn>
              <a:cxn ang="0">
                <a:pos x="141" y="0"/>
              </a:cxn>
              <a:cxn ang="0">
                <a:pos x="49" y="99"/>
              </a:cxn>
              <a:cxn ang="0">
                <a:pos x="0" y="144"/>
              </a:cxn>
              <a:cxn ang="0">
                <a:pos x="37" y="154"/>
              </a:cxn>
              <a:cxn ang="0">
                <a:pos x="125" y="125"/>
              </a:cxn>
              <a:cxn ang="0">
                <a:pos x="81" y="86"/>
              </a:cxn>
              <a:cxn ang="0">
                <a:pos x="125" y="107"/>
              </a:cxn>
            </a:cxnLst>
            <a:rect l="0" t="0" r="r" b="b"/>
            <a:pathLst>
              <a:path w="188" h="154">
                <a:moveTo>
                  <a:pt x="125" y="107"/>
                </a:moveTo>
                <a:cubicBezTo>
                  <a:pt x="160" y="107"/>
                  <a:pt x="188" y="78"/>
                  <a:pt x="188" y="43"/>
                </a:cubicBezTo>
                <a:cubicBezTo>
                  <a:pt x="186" y="28"/>
                  <a:pt x="181" y="0"/>
                  <a:pt x="141" y="0"/>
                </a:cubicBezTo>
                <a:cubicBezTo>
                  <a:pt x="99" y="0"/>
                  <a:pt x="84" y="60"/>
                  <a:pt x="49" y="99"/>
                </a:cubicBezTo>
                <a:cubicBezTo>
                  <a:pt x="47" y="121"/>
                  <a:pt x="26" y="140"/>
                  <a:pt x="0" y="144"/>
                </a:cubicBezTo>
                <a:cubicBezTo>
                  <a:pt x="6" y="150"/>
                  <a:pt x="20" y="154"/>
                  <a:pt x="37" y="154"/>
                </a:cubicBezTo>
                <a:cubicBezTo>
                  <a:pt x="68" y="154"/>
                  <a:pt x="106" y="145"/>
                  <a:pt x="125" y="125"/>
                </a:cubicBezTo>
                <a:cubicBezTo>
                  <a:pt x="99" y="126"/>
                  <a:pt x="82" y="109"/>
                  <a:pt x="81" y="86"/>
                </a:cubicBezTo>
                <a:cubicBezTo>
                  <a:pt x="93" y="101"/>
                  <a:pt x="108" y="107"/>
                  <a:pt x="125" y="107"/>
                </a:cubicBezTo>
              </a:path>
            </a:pathLst>
          </a:custGeom>
          <a:solidFill>
            <a:srgbClr val="12ABDB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5" name="Freeform 14"/>
          <p:cNvSpPr>
            <a:spLocks/>
          </p:cNvSpPr>
          <p:nvPr userDrawn="1"/>
        </p:nvSpPr>
        <p:spPr bwMode="auto">
          <a:xfrm>
            <a:off x="8625827" y="128680"/>
            <a:ext cx="314577" cy="267507"/>
          </a:xfrm>
          <a:custGeom>
            <a:avLst/>
            <a:gdLst/>
            <a:ahLst/>
            <a:cxnLst>
              <a:cxn ang="0">
                <a:pos x="286" y="152"/>
              </a:cxn>
              <a:cxn ang="0">
                <a:pos x="237" y="51"/>
              </a:cxn>
              <a:cxn ang="0">
                <a:pos x="160" y="3"/>
              </a:cxn>
              <a:cxn ang="0">
                <a:pos x="153" y="0"/>
              </a:cxn>
              <a:cxn ang="0">
                <a:pos x="153" y="0"/>
              </a:cxn>
              <a:cxn ang="0">
                <a:pos x="0" y="158"/>
              </a:cxn>
              <a:cxn ang="0">
                <a:pos x="53" y="236"/>
              </a:cxn>
              <a:cxn ang="0">
                <a:pos x="107" y="237"/>
              </a:cxn>
              <a:cxn ang="0">
                <a:pos x="147" y="210"/>
              </a:cxn>
              <a:cxn ang="0">
                <a:pos x="239" y="111"/>
              </a:cxn>
              <a:cxn ang="0">
                <a:pos x="286" y="154"/>
              </a:cxn>
              <a:cxn ang="0">
                <a:pos x="286" y="152"/>
              </a:cxn>
            </a:cxnLst>
            <a:rect l="0" t="0" r="r" b="b"/>
            <a:pathLst>
              <a:path w="286" h="243">
                <a:moveTo>
                  <a:pt x="286" y="152"/>
                </a:moveTo>
                <a:cubicBezTo>
                  <a:pt x="286" y="112"/>
                  <a:pt x="266" y="78"/>
                  <a:pt x="237" y="51"/>
                </a:cubicBezTo>
                <a:cubicBezTo>
                  <a:pt x="215" y="30"/>
                  <a:pt x="188" y="15"/>
                  <a:pt x="160" y="3"/>
                </a:cubicBezTo>
                <a:cubicBezTo>
                  <a:pt x="158" y="2"/>
                  <a:pt x="156" y="1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19" y="41"/>
                  <a:pt x="0" y="72"/>
                  <a:pt x="0" y="158"/>
                </a:cubicBezTo>
                <a:cubicBezTo>
                  <a:pt x="0" y="192"/>
                  <a:pt x="21" y="224"/>
                  <a:pt x="53" y="236"/>
                </a:cubicBezTo>
                <a:cubicBezTo>
                  <a:pt x="71" y="243"/>
                  <a:pt x="89" y="243"/>
                  <a:pt x="107" y="237"/>
                </a:cubicBezTo>
                <a:cubicBezTo>
                  <a:pt x="123" y="232"/>
                  <a:pt x="136" y="222"/>
                  <a:pt x="147" y="210"/>
                </a:cubicBezTo>
                <a:cubicBezTo>
                  <a:pt x="182" y="171"/>
                  <a:pt x="197" y="111"/>
                  <a:pt x="239" y="111"/>
                </a:cubicBezTo>
                <a:cubicBezTo>
                  <a:pt x="279" y="111"/>
                  <a:pt x="284" y="139"/>
                  <a:pt x="286" y="154"/>
                </a:cubicBezTo>
                <a:cubicBezTo>
                  <a:pt x="286" y="154"/>
                  <a:pt x="286" y="153"/>
                  <a:pt x="286" y="152"/>
                </a:cubicBezTo>
              </a:path>
            </a:pathLst>
          </a:custGeom>
          <a:solidFill>
            <a:srgbClr val="0070AD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>
          <a:xfrm>
            <a:off x="170260" y="1923750"/>
            <a:ext cx="6940153" cy="2943525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94179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9455EBB8-DB3C-45D2-B02F-0B36A58E555B}"/>
              </a:ext>
            </a:extLst>
          </p:cNvPr>
          <p:cNvSpPr/>
          <p:nvPr userDrawn="1"/>
        </p:nvSpPr>
        <p:spPr>
          <a:xfrm>
            <a:off x="0" y="0"/>
            <a:ext cx="3561974" cy="51435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0" y="0"/>
            <a:ext cx="3311645" cy="2382203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1"/>
            <a:ext cx="2725088" cy="17308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73513" y="2565213"/>
            <a:ext cx="3214946" cy="2244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="" xmlns:a16="http://schemas.microsoft.com/office/drawing/2014/main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36028" y="388511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36029" y="702727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="" xmlns:a16="http://schemas.microsoft.com/office/drawing/2014/main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36028" y="3485447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36029" y="3799663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="" xmlns:a16="http://schemas.microsoft.com/office/drawing/2014/main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36028" y="1922536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="" xmlns:a16="http://schemas.microsoft.com/office/drawing/2014/main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36029" y="2236752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="" xmlns:a16="http://schemas.microsoft.com/office/drawing/2014/main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5407" y="780363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="" xmlns:a16="http://schemas.microsoft.com/office/drawing/2014/main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5407" y="2247166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5407" y="3830881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3300740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3" y="2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7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170512" y="861455"/>
            <a:ext cx="8775000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14205752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60903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986043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30 Rectángulo"/>
          <p:cNvSpPr/>
          <p:nvPr userDrawn="1"/>
        </p:nvSpPr>
        <p:spPr>
          <a:xfrm>
            <a:off x="4572000" y="2915765"/>
            <a:ext cx="4387002" cy="19153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s-ES">
              <a:solidFill>
                <a:srgbClr val="FFFFFF"/>
              </a:solidFill>
            </a:endParaRPr>
          </a:p>
        </p:txBody>
      </p:sp>
      <p:sp>
        <p:nvSpPr>
          <p:cNvPr id="12" name="Espace réservé de la date 6"/>
          <p:cNvSpPr txBox="1">
            <a:spLocks/>
          </p:cNvSpPr>
          <p:nvPr userDrawn="1"/>
        </p:nvSpPr>
        <p:spPr bwMode="gray">
          <a:xfrm>
            <a:off x="152400" y="4956175"/>
            <a:ext cx="358776" cy="3397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mtClean="0">
                <a:solidFill>
                  <a:srgbClr val="FFFFFF">
                    <a:alpha val="0"/>
                  </a:srgbClr>
                </a:solidFill>
              </a:rPr>
              <a:t>Date</a:t>
            </a:r>
            <a:endParaRPr lang="en-US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3" name="12 Rectángulo"/>
          <p:cNvSpPr/>
          <p:nvPr userDrawn="1"/>
        </p:nvSpPr>
        <p:spPr>
          <a:xfrm>
            <a:off x="184999" y="581595"/>
            <a:ext cx="8774003" cy="345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s-ES">
              <a:solidFill>
                <a:srgbClr val="FFFFFF"/>
              </a:solidFill>
            </a:endParaRP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31788" y="624165"/>
            <a:ext cx="5752380" cy="26025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Project Name</a:t>
            </a:r>
            <a:endParaRPr lang="en-US" noProof="0" dirty="0"/>
          </a:p>
        </p:txBody>
      </p:sp>
      <p:sp>
        <p:nvSpPr>
          <p:cNvPr id="15" name="Espace réservé pour une image 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185906" y="983403"/>
            <a:ext cx="4331048" cy="1932362"/>
          </a:xfrm>
          <a:solidFill>
            <a:srgbClr val="EAEAEA"/>
          </a:solidFill>
        </p:spPr>
        <p:txBody>
          <a:bodyPr tIns="405000" anchor="ctr" anchorCtr="0"/>
          <a:lstStyle>
            <a:lvl1pPr>
              <a:defRPr/>
            </a:lvl1pPr>
          </a:lstStyle>
          <a:p>
            <a:r>
              <a:rPr lang="en-US" noProof="0" dirty="0" smtClean="0"/>
              <a:t>Select the icon to insert a picture</a:t>
            </a:r>
            <a:endParaRPr lang="en-US" noProof="0" dirty="0"/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746945" y="1047068"/>
            <a:ext cx="4037827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3" name="Espace réservé du texte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746945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97077" y="192663"/>
            <a:ext cx="4806972" cy="218848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200" b="1" i="0" u="none" noProof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ct val="90000"/>
              </a:lnSpc>
              <a:spcBef>
                <a:spcPct val="0"/>
              </a:spcBef>
            </a:pPr>
            <a:r>
              <a:rPr lang="en-US" noProof="0" smtClean="0"/>
              <a:t>INDUSTRY NAME</a:t>
            </a:r>
            <a:endParaRPr lang="en-US" noProof="0" dirty="0" smtClean="0"/>
          </a:p>
        </p:txBody>
      </p:sp>
      <p:sp>
        <p:nvSpPr>
          <p:cNvPr id="24" name="Rectangle 57">
            <a:extLst>
              <a:ext uri="{FF2B5EF4-FFF2-40B4-BE49-F238E27FC236}">
                <a16:creationId xmlns="" xmlns:a16="http://schemas.microsoft.com/office/drawing/2014/main" id="{E84F61DF-65CA-45BF-9A0B-34B97F6A97EA}"/>
              </a:ext>
            </a:extLst>
          </p:cNvPr>
          <p:cNvSpPr/>
          <p:nvPr userDrawn="1"/>
        </p:nvSpPr>
        <p:spPr>
          <a:xfrm>
            <a:off x="129952" y="519522"/>
            <a:ext cx="8884097" cy="4374175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26" name="Espace réservé du texte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35207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0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46946" y="1340854"/>
            <a:ext cx="4034147" cy="142177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31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72" indent="-13454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6004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72" indent="-130969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46945" y="3352421"/>
            <a:ext cx="4037112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31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72" indent="-13454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6004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72" indent="-130969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30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5207" y="3352421"/>
            <a:ext cx="4032448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31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72" indent="-13454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6004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72" indent="-130969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628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6"/>
          <p:cNvSpPr txBox="1">
            <a:spLocks/>
          </p:cNvSpPr>
          <p:nvPr userDrawn="1"/>
        </p:nvSpPr>
        <p:spPr bwMode="gray">
          <a:xfrm>
            <a:off x="152400" y="4956175"/>
            <a:ext cx="358776" cy="3397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mtClean="0">
                <a:solidFill>
                  <a:srgbClr val="FFFFFF">
                    <a:alpha val="0"/>
                  </a:srgbClr>
                </a:solidFill>
              </a:rPr>
              <a:t>Date</a:t>
            </a:r>
            <a:endParaRPr lang="en-US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3" name="12 Rectángulo"/>
          <p:cNvSpPr/>
          <p:nvPr userDrawn="1"/>
        </p:nvSpPr>
        <p:spPr>
          <a:xfrm>
            <a:off x="184999" y="581595"/>
            <a:ext cx="8774003" cy="345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s-ES">
              <a:solidFill>
                <a:srgbClr val="FFFFFF"/>
              </a:solidFill>
            </a:endParaRP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31788" y="624165"/>
            <a:ext cx="5752380" cy="26025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Project Name</a:t>
            </a:r>
            <a:endParaRPr lang="en-US" noProof="0" dirty="0"/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97077" y="192663"/>
            <a:ext cx="4806972" cy="218848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200" b="1" i="0" u="none" noProof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ct val="90000"/>
              </a:lnSpc>
              <a:spcBef>
                <a:spcPct val="0"/>
              </a:spcBef>
            </a:pPr>
            <a:r>
              <a:rPr lang="en-US" noProof="0" dirty="0" smtClean="0"/>
              <a:t>INDUSTRY NAME</a:t>
            </a:r>
          </a:p>
        </p:txBody>
      </p:sp>
      <p:sp>
        <p:nvSpPr>
          <p:cNvPr id="24" name="Rectangle 57">
            <a:extLst>
              <a:ext uri="{FF2B5EF4-FFF2-40B4-BE49-F238E27FC236}">
                <a16:creationId xmlns="" xmlns:a16="http://schemas.microsoft.com/office/drawing/2014/main" id="{E84F61DF-65CA-45BF-9A0B-34B97F6A97EA}"/>
              </a:ext>
            </a:extLst>
          </p:cNvPr>
          <p:cNvSpPr/>
          <p:nvPr userDrawn="1"/>
        </p:nvSpPr>
        <p:spPr>
          <a:xfrm>
            <a:off x="129952" y="519522"/>
            <a:ext cx="8884097" cy="4374175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5256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2" y="1653991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5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0513" y="2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55512" y="1653991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8321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5" y="1653991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5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749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35021" y="1653991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5021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749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88094" y="1653991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8094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749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33203808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3" y="3"/>
            <a:ext cx="689999" cy="32146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3" y="3"/>
            <a:ext cx="689999" cy="859631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158" y="2"/>
            <a:ext cx="7783283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0" y="1361513"/>
            <a:ext cx="8775000" cy="3350700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731158" y="861455"/>
            <a:ext cx="8205677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57"/>
            <a:ext cx="685800" cy="685800"/>
          </a:xfrm>
        </p:spPr>
        <p:txBody>
          <a:bodyPr anchor="ctr">
            <a:normAutofit/>
          </a:bodyPr>
          <a:lstStyle>
            <a:lvl1pPr marL="0" indent="0" algn="ctr" defTabSz="685749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GB" sz="3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54433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=""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2" y="3"/>
            <a:ext cx="3903009" cy="2339789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 dirty="0">
              <a:solidFill>
                <a:srgbClr val="FFFFFF"/>
              </a:solidFill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=""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50" y="3958819"/>
            <a:ext cx="2472485" cy="248990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50" y="2937265"/>
            <a:ext cx="2472485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5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=""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561" y="3258073"/>
            <a:ext cx="2478108" cy="67113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=""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6564" y="4201048"/>
            <a:ext cx="2473271" cy="535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=""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035897" y="860276"/>
            <a:ext cx="1956917" cy="1849272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988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6791327" y="4867277"/>
            <a:ext cx="2352675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3" name="Freeform: Shape 9">
            <a:extLst>
              <a:ext uri="{FF2B5EF4-FFF2-40B4-BE49-F238E27FC236}">
                <a16:creationId xmlns="" xmlns:a16="http://schemas.microsoft.com/office/drawing/2014/main" id="{531E77B6-0DD5-446F-A826-892DFC23D785}"/>
              </a:ext>
            </a:extLst>
          </p:cNvPr>
          <p:cNvSpPr>
            <a:spLocks/>
          </p:cNvSpPr>
          <p:nvPr userDrawn="1"/>
        </p:nvSpPr>
        <p:spPr bwMode="auto">
          <a:xfrm rot="16200000" flipH="1">
            <a:off x="4199169" y="209551"/>
            <a:ext cx="5154385" cy="4735284"/>
          </a:xfrm>
          <a:custGeom>
            <a:avLst/>
            <a:gdLst>
              <a:gd name="connsiteX0" fmla="*/ 1393480 w 6857999"/>
              <a:gd name="connsiteY0" fmla="*/ 6240016 h 6240016"/>
              <a:gd name="connsiteX1" fmla="*/ 6857999 w 6857999"/>
              <a:gd name="connsiteY1" fmla="*/ 6240016 h 6240016"/>
              <a:gd name="connsiteX2" fmla="*/ 6857999 w 6857999"/>
              <a:gd name="connsiteY2" fmla="*/ 4248395 h 6240016"/>
              <a:gd name="connsiteX3" fmla="*/ 6815497 w 6857999"/>
              <a:gd name="connsiteY3" fmla="*/ 4209614 h 6240016"/>
              <a:gd name="connsiteX4" fmla="*/ 2767903 w 6857999"/>
              <a:gd name="connsiteY4" fmla="*/ 5342723 h 6240016"/>
              <a:gd name="connsiteX5" fmla="*/ 1497189 w 6857999"/>
              <a:gd name="connsiteY5" fmla="*/ 6201822 h 6240016"/>
              <a:gd name="connsiteX6" fmla="*/ 0 w 6857999"/>
              <a:gd name="connsiteY6" fmla="*/ 618342 h 6240016"/>
              <a:gd name="connsiteX7" fmla="*/ 0 w 6857999"/>
              <a:gd name="connsiteY7" fmla="*/ 6240016 h 6240016"/>
              <a:gd name="connsiteX8" fmla="*/ 921827 w 6857999"/>
              <a:gd name="connsiteY8" fmla="*/ 6240016 h 6240016"/>
              <a:gd name="connsiteX9" fmla="*/ 877464 w 6857999"/>
              <a:gd name="connsiteY9" fmla="*/ 6206986 h 6240016"/>
              <a:gd name="connsiteX10" fmla="*/ 1720124 w 6857999"/>
              <a:gd name="connsiteY10" fmla="*/ 3319666 h 6240016"/>
              <a:gd name="connsiteX11" fmla="*/ 1778012 w 6857999"/>
              <a:gd name="connsiteY11" fmla="*/ 0 h 6240016"/>
              <a:gd name="connsiteX12" fmla="*/ 36658 w 6857999"/>
              <a:gd name="connsiteY12" fmla="*/ 619001 h 6240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857999" h="6240016">
                <a:moveTo>
                  <a:pt x="1393480" y="6240016"/>
                </a:moveTo>
                <a:lnTo>
                  <a:pt x="6857999" y="6240016"/>
                </a:lnTo>
                <a:lnTo>
                  <a:pt x="6857999" y="4248395"/>
                </a:lnTo>
                <a:lnTo>
                  <a:pt x="6815497" y="4209614"/>
                </a:lnTo>
                <a:cubicBezTo>
                  <a:pt x="6548465" y="3983120"/>
                  <a:pt x="5320780" y="3210409"/>
                  <a:pt x="2767903" y="5342723"/>
                </a:cubicBezTo>
                <a:cubicBezTo>
                  <a:pt x="2220316" y="5799647"/>
                  <a:pt x="1804503" y="6071896"/>
                  <a:pt x="1497189" y="6201822"/>
                </a:cubicBezTo>
                <a:close/>
                <a:moveTo>
                  <a:pt x="0" y="618342"/>
                </a:moveTo>
                <a:lnTo>
                  <a:pt x="0" y="6240016"/>
                </a:lnTo>
                <a:lnTo>
                  <a:pt x="921827" y="6240016"/>
                </a:lnTo>
                <a:lnTo>
                  <a:pt x="877464" y="6206986"/>
                </a:lnTo>
                <a:cubicBezTo>
                  <a:pt x="498816" y="5832433"/>
                  <a:pt x="1067071" y="4347112"/>
                  <a:pt x="1720124" y="3319666"/>
                </a:cubicBezTo>
                <a:cubicBezTo>
                  <a:pt x="2767903" y="1675751"/>
                  <a:pt x="2938674" y="700400"/>
                  <a:pt x="1778012" y="0"/>
                </a:cubicBezTo>
                <a:cubicBezTo>
                  <a:pt x="950209" y="451498"/>
                  <a:pt x="400993" y="607786"/>
                  <a:pt x="36658" y="61900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  <a:noAutofit/>
          </a:bodyPr>
          <a:lstStyle/>
          <a:p>
            <a:pPr defTabSz="685749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803572" y="4987999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749"/>
            <a:fld id="{0502E5A9-B53C-401E-A0E0-4A359BB0A9E5}" type="slidenum">
              <a:rPr lang="en-US" sz="60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</a:rPr>
              <a:pPr algn="r" defTabSz="685749"/>
              <a:t>‹Nº›</a:t>
            </a:fld>
            <a:endParaRPr lang="en-US" sz="600" dirty="0">
              <a:solidFill>
                <a:srgbClr val="FFFFFF">
                  <a:lumMod val="5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803249" y="4987999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749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50000"/>
                  </a:srgbClr>
                </a:solidFill>
              </a:rPr>
              <a:t>© Capgemini 2021. All rights reserved |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5" y="-1"/>
            <a:ext cx="4227317" cy="1338943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Freeform 13"/>
          <p:cNvSpPr>
            <a:spLocks/>
          </p:cNvSpPr>
          <p:nvPr userDrawn="1"/>
        </p:nvSpPr>
        <p:spPr bwMode="auto">
          <a:xfrm>
            <a:off x="8733482" y="250785"/>
            <a:ext cx="206922" cy="169639"/>
          </a:xfrm>
          <a:custGeom>
            <a:avLst/>
            <a:gdLst/>
            <a:ahLst/>
            <a:cxnLst>
              <a:cxn ang="0">
                <a:pos x="125" y="107"/>
              </a:cxn>
              <a:cxn ang="0">
                <a:pos x="188" y="43"/>
              </a:cxn>
              <a:cxn ang="0">
                <a:pos x="141" y="0"/>
              </a:cxn>
              <a:cxn ang="0">
                <a:pos x="49" y="99"/>
              </a:cxn>
              <a:cxn ang="0">
                <a:pos x="0" y="144"/>
              </a:cxn>
              <a:cxn ang="0">
                <a:pos x="37" y="154"/>
              </a:cxn>
              <a:cxn ang="0">
                <a:pos x="125" y="125"/>
              </a:cxn>
              <a:cxn ang="0">
                <a:pos x="81" y="86"/>
              </a:cxn>
              <a:cxn ang="0">
                <a:pos x="125" y="107"/>
              </a:cxn>
            </a:cxnLst>
            <a:rect l="0" t="0" r="r" b="b"/>
            <a:pathLst>
              <a:path w="188" h="154">
                <a:moveTo>
                  <a:pt x="125" y="107"/>
                </a:moveTo>
                <a:cubicBezTo>
                  <a:pt x="160" y="107"/>
                  <a:pt x="188" y="78"/>
                  <a:pt x="188" y="43"/>
                </a:cubicBezTo>
                <a:cubicBezTo>
                  <a:pt x="186" y="28"/>
                  <a:pt x="181" y="0"/>
                  <a:pt x="141" y="0"/>
                </a:cubicBezTo>
                <a:cubicBezTo>
                  <a:pt x="99" y="0"/>
                  <a:pt x="84" y="60"/>
                  <a:pt x="49" y="99"/>
                </a:cubicBezTo>
                <a:cubicBezTo>
                  <a:pt x="47" y="121"/>
                  <a:pt x="26" y="140"/>
                  <a:pt x="0" y="144"/>
                </a:cubicBezTo>
                <a:cubicBezTo>
                  <a:pt x="6" y="150"/>
                  <a:pt x="20" y="154"/>
                  <a:pt x="37" y="154"/>
                </a:cubicBezTo>
                <a:cubicBezTo>
                  <a:pt x="68" y="154"/>
                  <a:pt x="106" y="145"/>
                  <a:pt x="125" y="125"/>
                </a:cubicBezTo>
                <a:cubicBezTo>
                  <a:pt x="99" y="126"/>
                  <a:pt x="82" y="109"/>
                  <a:pt x="81" y="86"/>
                </a:cubicBezTo>
                <a:cubicBezTo>
                  <a:pt x="93" y="101"/>
                  <a:pt x="108" y="107"/>
                  <a:pt x="125" y="107"/>
                </a:cubicBezTo>
              </a:path>
            </a:pathLst>
          </a:custGeom>
          <a:solidFill>
            <a:srgbClr val="12ABDB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5" name="Freeform 14"/>
          <p:cNvSpPr>
            <a:spLocks/>
          </p:cNvSpPr>
          <p:nvPr userDrawn="1"/>
        </p:nvSpPr>
        <p:spPr bwMode="auto">
          <a:xfrm>
            <a:off x="8625827" y="128681"/>
            <a:ext cx="314577" cy="267507"/>
          </a:xfrm>
          <a:custGeom>
            <a:avLst/>
            <a:gdLst/>
            <a:ahLst/>
            <a:cxnLst>
              <a:cxn ang="0">
                <a:pos x="286" y="152"/>
              </a:cxn>
              <a:cxn ang="0">
                <a:pos x="237" y="51"/>
              </a:cxn>
              <a:cxn ang="0">
                <a:pos x="160" y="3"/>
              </a:cxn>
              <a:cxn ang="0">
                <a:pos x="153" y="0"/>
              </a:cxn>
              <a:cxn ang="0">
                <a:pos x="153" y="0"/>
              </a:cxn>
              <a:cxn ang="0">
                <a:pos x="0" y="158"/>
              </a:cxn>
              <a:cxn ang="0">
                <a:pos x="53" y="236"/>
              </a:cxn>
              <a:cxn ang="0">
                <a:pos x="107" y="237"/>
              </a:cxn>
              <a:cxn ang="0">
                <a:pos x="147" y="210"/>
              </a:cxn>
              <a:cxn ang="0">
                <a:pos x="239" y="111"/>
              </a:cxn>
              <a:cxn ang="0">
                <a:pos x="286" y="154"/>
              </a:cxn>
              <a:cxn ang="0">
                <a:pos x="286" y="152"/>
              </a:cxn>
            </a:cxnLst>
            <a:rect l="0" t="0" r="r" b="b"/>
            <a:pathLst>
              <a:path w="286" h="243">
                <a:moveTo>
                  <a:pt x="286" y="152"/>
                </a:moveTo>
                <a:cubicBezTo>
                  <a:pt x="286" y="112"/>
                  <a:pt x="266" y="78"/>
                  <a:pt x="237" y="51"/>
                </a:cubicBezTo>
                <a:cubicBezTo>
                  <a:pt x="215" y="30"/>
                  <a:pt x="188" y="15"/>
                  <a:pt x="160" y="3"/>
                </a:cubicBezTo>
                <a:cubicBezTo>
                  <a:pt x="158" y="2"/>
                  <a:pt x="156" y="1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19" y="41"/>
                  <a:pt x="0" y="72"/>
                  <a:pt x="0" y="158"/>
                </a:cubicBezTo>
                <a:cubicBezTo>
                  <a:pt x="0" y="192"/>
                  <a:pt x="21" y="224"/>
                  <a:pt x="53" y="236"/>
                </a:cubicBezTo>
                <a:cubicBezTo>
                  <a:pt x="71" y="243"/>
                  <a:pt x="89" y="243"/>
                  <a:pt x="107" y="237"/>
                </a:cubicBezTo>
                <a:cubicBezTo>
                  <a:pt x="123" y="232"/>
                  <a:pt x="136" y="222"/>
                  <a:pt x="147" y="210"/>
                </a:cubicBezTo>
                <a:cubicBezTo>
                  <a:pt x="182" y="171"/>
                  <a:pt x="197" y="111"/>
                  <a:pt x="239" y="111"/>
                </a:cubicBezTo>
                <a:cubicBezTo>
                  <a:pt x="279" y="111"/>
                  <a:pt x="284" y="139"/>
                  <a:pt x="286" y="154"/>
                </a:cubicBezTo>
                <a:cubicBezTo>
                  <a:pt x="286" y="154"/>
                  <a:pt x="286" y="153"/>
                  <a:pt x="286" y="152"/>
                </a:cubicBezTo>
              </a:path>
            </a:pathLst>
          </a:custGeom>
          <a:solidFill>
            <a:srgbClr val="0070AD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>
          <a:xfrm>
            <a:off x="170263" y="1923752"/>
            <a:ext cx="6940153" cy="2943525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48104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9455EBB8-DB3C-45D2-B02F-0B36A58E555B}"/>
              </a:ext>
            </a:extLst>
          </p:cNvPr>
          <p:cNvSpPr/>
          <p:nvPr userDrawn="1"/>
        </p:nvSpPr>
        <p:spPr>
          <a:xfrm>
            <a:off x="1" y="0"/>
            <a:ext cx="3561974" cy="51435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3" y="3"/>
            <a:ext cx="3311645" cy="2382203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1"/>
            <a:ext cx="2725088" cy="17308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73515" y="2565213"/>
            <a:ext cx="3214946" cy="2244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="" xmlns:a16="http://schemas.microsoft.com/office/drawing/2014/main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36029" y="388513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36029" y="702727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="" xmlns:a16="http://schemas.microsoft.com/office/drawing/2014/main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36029" y="3485449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36029" y="3799663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="" xmlns:a16="http://schemas.microsoft.com/office/drawing/2014/main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36029" y="1922536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="" xmlns:a16="http://schemas.microsoft.com/office/drawing/2014/main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36029" y="2236752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="" xmlns:a16="http://schemas.microsoft.com/office/drawing/2014/main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5410" y="780366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="" xmlns:a16="http://schemas.microsoft.com/office/drawing/2014/main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5410" y="2247169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5410" y="3830884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11170201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596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7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8625827" y="128681"/>
            <a:ext cx="314577" cy="291741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49"/>
              <a:endParaRPr lang="en-GB" sz="1400">
                <a:solidFill>
                  <a:prstClr val="black"/>
                </a:solidFill>
              </a:endParaRPr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49"/>
              <a:endParaRPr lang="en-GB" sz="1400">
                <a:solidFill>
                  <a:prstClr val="black"/>
                </a:solidFill>
              </a:endParaRPr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76083" y="4987999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749"/>
            <a:fld id="{0502E5A9-B53C-401E-A0E0-4A359BB0A9E5}" type="slidenum">
              <a:rPr lang="en-US" sz="6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algn="r" defTabSz="685749"/>
              <a:t>‹Nº›</a:t>
            </a:fld>
            <a:endParaRPr lang="en-US" sz="600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762921" y="4987999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749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© Capgemini 2021. All rights reserved  </a:t>
            </a:r>
            <a:r>
              <a:rPr lang="en-US" sz="500" dirty="0">
                <a:solidFill>
                  <a:srgbClr val="12ABDB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170513" y="4987999"/>
            <a:ext cx="3537393" cy="92333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170511" y="1361517"/>
            <a:ext cx="8775000" cy="33496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170513" y="2"/>
            <a:ext cx="8343927" cy="8286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=""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9266280" y="24871"/>
            <a:ext cx="270000" cy="810000"/>
            <a:chOff x="12355040" y="33161"/>
            <a:chExt cx="360000" cy="1080000"/>
          </a:xfrm>
        </p:grpSpPr>
        <p:sp>
          <p:nvSpPr>
            <p:cNvPr id="11" name="Rectangle 10">
              <a:extLst>
                <a:ext uri="{FF2B5EF4-FFF2-40B4-BE49-F238E27FC236}">
                  <a16:creationId xmlns=""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=""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=""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9266280" y="1465859"/>
            <a:ext cx="270000" cy="3656829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1"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=""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1"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=""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=""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=""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=""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=""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=""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4165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marL="0" marR="0" indent="0" algn="l" defTabSz="685749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3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68574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+mj-lt"/>
          <a:ea typeface="+mn-ea"/>
          <a:cs typeface="+mn-cs"/>
        </a:defRPr>
      </a:lvl1pPr>
      <a:lvl2pPr marL="200010" indent="-133341" algn="l" defTabSz="685749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j-lt"/>
          <a:ea typeface="+mn-ea"/>
          <a:cs typeface="+mn-cs"/>
        </a:defRPr>
      </a:lvl2pPr>
      <a:lvl3pPr marL="333351" indent="-133341" algn="l" defTabSz="685749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466689" indent="-133341" algn="l" defTabSz="685749" rtl="0" eaLnBrk="1" latinLnBrk="0" hangingPunct="1">
        <a:lnSpc>
          <a:spcPct val="90000"/>
        </a:lnSpc>
        <a:spcBef>
          <a:spcPts val="375"/>
        </a:spcBef>
        <a:buClr>
          <a:schemeClr val="accent3"/>
        </a:buClr>
        <a:buFont typeface="Verdana" panose="020B0604030504040204" pitchFamily="34" charset="0"/>
        <a:buChar char="‒"/>
        <a:defRPr sz="1100" kern="1200">
          <a:solidFill>
            <a:schemeClr val="tx1"/>
          </a:solidFill>
          <a:latin typeface="+mj-lt"/>
          <a:ea typeface="+mn-ea"/>
          <a:cs typeface="+mn-cs"/>
        </a:defRPr>
      </a:lvl4pPr>
      <a:lvl5pPr marL="609555" indent="-142865" algn="l" defTabSz="685749" rtl="0" eaLnBrk="1" latinLnBrk="0" hangingPunct="1">
        <a:lnSpc>
          <a:spcPct val="90000"/>
        </a:lnSpc>
        <a:spcBef>
          <a:spcPts val="375"/>
        </a:spcBef>
        <a:buClr>
          <a:schemeClr val="accent5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2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8625827" y="128680"/>
            <a:ext cx="314577" cy="291741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>
                <a:solidFill>
                  <a:prstClr val="black"/>
                </a:solidFill>
              </a:endParaRPr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>
                <a:solidFill>
                  <a:prstClr val="black"/>
                </a:solidFill>
              </a:endParaRPr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76082" y="4987996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800"/>
            <a:fld id="{0502E5A9-B53C-401E-A0E0-4A359BB0A9E5}" type="slidenum">
              <a:rPr lang="en-US" sz="6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algn="r" defTabSz="685800"/>
              <a:t>‹Nº›</a:t>
            </a:fld>
            <a:endParaRPr lang="en-US" sz="600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762918" y="4987996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800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© Capgemini 2021. All rights reserved  </a:t>
            </a:r>
            <a:r>
              <a:rPr lang="en-US" sz="500" dirty="0">
                <a:solidFill>
                  <a:srgbClr val="12ABDB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170511" y="4987996"/>
            <a:ext cx="3537393" cy="92333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170511" y="1361514"/>
            <a:ext cx="8775000" cy="33496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170512" y="0"/>
            <a:ext cx="8343927" cy="8286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=""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9266280" y="24871"/>
            <a:ext cx="270000" cy="810000"/>
            <a:chOff x="12355040" y="33161"/>
            <a:chExt cx="360000" cy="1080000"/>
          </a:xfrm>
        </p:grpSpPr>
        <p:sp>
          <p:nvSpPr>
            <p:cNvPr id="11" name="Rectangle 10">
              <a:extLst>
                <a:ext uri="{FF2B5EF4-FFF2-40B4-BE49-F238E27FC236}">
                  <a16:creationId xmlns=""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=""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=""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9266280" y="1465859"/>
            <a:ext cx="270000" cy="3656829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4"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=""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4"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=""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=""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=""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=""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=""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=""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7382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txStyles>
    <p:titleStyle>
      <a:lvl1pPr marL="0" marR="0" indent="0" algn="l" defTabSz="6858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3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+mj-lt"/>
          <a:ea typeface="+mn-ea"/>
          <a:cs typeface="+mn-cs"/>
        </a:defRPr>
      </a:lvl1pPr>
      <a:lvl2pPr marL="200025" indent="-1333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j-lt"/>
          <a:ea typeface="+mn-ea"/>
          <a:cs typeface="+mn-cs"/>
        </a:defRPr>
      </a:lvl2pPr>
      <a:lvl3pPr marL="333375" indent="-133350" algn="l" defTabSz="685800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466725" indent="-133350" algn="l" defTabSz="685800" rtl="0" eaLnBrk="1" latinLnBrk="0" hangingPunct="1">
        <a:lnSpc>
          <a:spcPct val="90000"/>
        </a:lnSpc>
        <a:spcBef>
          <a:spcPts val="375"/>
        </a:spcBef>
        <a:buClr>
          <a:schemeClr val="accent3"/>
        </a:buClr>
        <a:buFont typeface="Verdana" panose="020B0604030504040204" pitchFamily="34" charset="0"/>
        <a:buChar char="‒"/>
        <a:defRPr sz="1100" kern="1200">
          <a:solidFill>
            <a:schemeClr val="tx1"/>
          </a:solidFill>
          <a:latin typeface="+mj-lt"/>
          <a:ea typeface="+mn-ea"/>
          <a:cs typeface="+mn-cs"/>
        </a:defRPr>
      </a:lvl4pPr>
      <a:lvl5pPr marL="609600" indent="-142875" algn="l" defTabSz="685800" rtl="0" eaLnBrk="1" latinLnBrk="0" hangingPunct="1">
        <a:lnSpc>
          <a:spcPct val="90000"/>
        </a:lnSpc>
        <a:spcBef>
          <a:spcPts val="375"/>
        </a:spcBef>
        <a:buClr>
          <a:schemeClr val="accent5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8242" y="-20538"/>
            <a:ext cx="7982273" cy="5328591"/>
          </a:xfrm>
          <a:prstGeom prst="rect">
            <a:avLst/>
          </a:prstGeom>
        </p:spPr>
      </p:pic>
      <p:sp>
        <p:nvSpPr>
          <p:cNvPr id="2" name="Freeform 5">
            <a:extLst>
              <a:ext uri="{FF2B5EF4-FFF2-40B4-BE49-F238E27FC236}">
                <a16:creationId xmlns="" xmlns:a16="http://schemas.microsoft.com/office/drawing/2014/main" id="{097E2B3C-7165-47CD-8F90-29BD547B5A2B}"/>
              </a:ext>
            </a:extLst>
          </p:cNvPr>
          <p:cNvSpPr>
            <a:spLocks noChangeAspect="1"/>
          </p:cNvSpPr>
          <p:nvPr/>
        </p:nvSpPr>
        <p:spPr bwMode="auto">
          <a:xfrm>
            <a:off x="0" y="-24389"/>
            <a:ext cx="5664652" cy="5866116"/>
          </a:xfrm>
          <a:custGeom>
            <a:avLst/>
            <a:gdLst>
              <a:gd name="T0" fmla="*/ 1453 w 1637"/>
              <a:gd name="T1" fmla="*/ 0 h 1514"/>
              <a:gd name="T2" fmla="*/ 1238 w 1637"/>
              <a:gd name="T3" fmla="*/ 495 h 1514"/>
              <a:gd name="T4" fmla="*/ 763 w 1637"/>
              <a:gd name="T5" fmla="*/ 1047 h 1514"/>
              <a:gd name="T6" fmla="*/ 0 w 1637"/>
              <a:gd name="T7" fmla="*/ 1449 h 1514"/>
              <a:gd name="T8" fmla="*/ 0 w 1637"/>
              <a:gd name="T9" fmla="*/ 0 h 1514"/>
              <a:gd name="T10" fmla="*/ 1453 w 1637"/>
              <a:gd name="T11" fmla="*/ 0 h 1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37" h="1514">
                <a:moveTo>
                  <a:pt x="1453" y="0"/>
                </a:moveTo>
                <a:cubicBezTo>
                  <a:pt x="1453" y="0"/>
                  <a:pt x="1637" y="326"/>
                  <a:pt x="1238" y="495"/>
                </a:cubicBezTo>
                <a:cubicBezTo>
                  <a:pt x="840" y="663"/>
                  <a:pt x="594" y="755"/>
                  <a:pt x="763" y="1047"/>
                </a:cubicBezTo>
                <a:cubicBezTo>
                  <a:pt x="230" y="1514"/>
                  <a:pt x="0" y="1449"/>
                  <a:pt x="0" y="1449"/>
                </a:cubicBezTo>
                <a:cubicBezTo>
                  <a:pt x="0" y="0"/>
                  <a:pt x="0" y="0"/>
                  <a:pt x="0" y="0"/>
                </a:cubicBezTo>
                <a:lnTo>
                  <a:pt x="145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74" tIns="34289" rIns="68574" bIns="34289" numCol="1" anchor="t" anchorCtr="0" compatLnSpc="1">
            <a:prstTxWarp prst="textNoShape">
              <a:avLst/>
            </a:prstTxWarp>
          </a:bodyPr>
          <a:lstStyle/>
          <a:p>
            <a:pPr defTabSz="685732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7" name="Espace réservé du texte 1">
            <a:extLst>
              <a:ext uri="{FF2B5EF4-FFF2-40B4-BE49-F238E27FC236}">
                <a16:creationId xmlns="" xmlns:a16="http://schemas.microsoft.com/office/drawing/2014/main" id="{3E61A40D-4439-4E82-955B-FC636EF3CC80}"/>
              </a:ext>
            </a:extLst>
          </p:cNvPr>
          <p:cNvSpPr txBox="1">
            <a:spLocks/>
          </p:cNvSpPr>
          <p:nvPr/>
        </p:nvSpPr>
        <p:spPr>
          <a:xfrm>
            <a:off x="179511" y="51470"/>
            <a:ext cx="4680521" cy="792088"/>
          </a:xfrm>
          <a:prstGeom prst="rect">
            <a:avLst/>
          </a:prstGeom>
        </p:spPr>
        <p:txBody>
          <a:bodyPr lIns="68574" tIns="34289" rIns="68574" bIns="34289" anchor="ctr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6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32">
              <a:defRPr/>
            </a:pPr>
            <a:r>
              <a:rPr lang="en-US" sz="2800" dirty="0" err="1">
                <a:solidFill>
                  <a:srgbClr val="FFFFFF"/>
                </a:solidFill>
              </a:rPr>
              <a:t>Introducción</a:t>
            </a:r>
            <a:r>
              <a:rPr lang="en-US" sz="2800" dirty="0">
                <a:solidFill>
                  <a:srgbClr val="FFFFFF"/>
                </a:solidFill>
              </a:rPr>
              <a:t> a Python </a:t>
            </a:r>
            <a:r>
              <a:rPr lang="en-US" sz="2800" dirty="0" err="1">
                <a:solidFill>
                  <a:srgbClr val="FFFFFF"/>
                </a:solidFill>
              </a:rPr>
              <a:t>orientado</a:t>
            </a:r>
            <a:r>
              <a:rPr lang="en-US" sz="2800" dirty="0">
                <a:solidFill>
                  <a:srgbClr val="FFFFFF"/>
                </a:solidFill>
              </a:rPr>
              <a:t> a ASD</a:t>
            </a:r>
          </a:p>
        </p:txBody>
      </p:sp>
      <p:sp>
        <p:nvSpPr>
          <p:cNvPr id="8" name="Sous-titre 2">
            <a:extLst>
              <a:ext uri="{FF2B5EF4-FFF2-40B4-BE49-F238E27FC236}">
                <a16:creationId xmlns="" xmlns:a16="http://schemas.microsoft.com/office/drawing/2014/main" id="{259864C7-43B5-4E4E-B76F-BA3BD78F03AA}"/>
              </a:ext>
            </a:extLst>
          </p:cNvPr>
          <p:cNvSpPr txBox="1">
            <a:spLocks/>
          </p:cNvSpPr>
          <p:nvPr/>
        </p:nvSpPr>
        <p:spPr>
          <a:xfrm>
            <a:off x="107504" y="4443958"/>
            <a:ext cx="1944216" cy="42604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9750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32">
              <a:defRPr/>
            </a:pPr>
            <a:r>
              <a:rPr lang="es-ES" sz="1100" dirty="0">
                <a:solidFill>
                  <a:srgbClr val="FFFFFF"/>
                </a:solidFill>
              </a:rPr>
              <a:t>Evaristo Cuesta Guzmán </a:t>
            </a:r>
            <a:endParaRPr lang="es-ES" sz="1100" dirty="0" smtClean="0">
              <a:solidFill>
                <a:srgbClr val="FFFFFF"/>
              </a:solidFill>
            </a:endParaRPr>
          </a:p>
          <a:p>
            <a:pPr defTabSz="685732">
              <a:defRPr/>
            </a:pPr>
            <a:r>
              <a:rPr lang="es-ES" sz="1100" dirty="0" smtClean="0">
                <a:solidFill>
                  <a:srgbClr val="FFFFFF"/>
                </a:solidFill>
              </a:rPr>
              <a:t>20/05/2021</a:t>
            </a:r>
            <a:endParaRPr lang="es-ES" sz="1100" dirty="0">
              <a:solidFill>
                <a:srgbClr val="FFFFFF"/>
              </a:solidFill>
            </a:endParaRPr>
          </a:p>
        </p:txBody>
      </p:sp>
      <p:sp>
        <p:nvSpPr>
          <p:cNvPr id="11" name="Rectángulo 10"/>
          <p:cNvSpPr/>
          <p:nvPr/>
        </p:nvSpPr>
        <p:spPr>
          <a:xfrm>
            <a:off x="3491880" y="2411021"/>
            <a:ext cx="5652120" cy="2732483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58000"/>
                </a:schemeClr>
              </a:gs>
              <a:gs pos="28000">
                <a:srgbClr val="000000">
                  <a:alpha val="38000"/>
                </a:srgbClr>
              </a:gs>
              <a:gs pos="49000">
                <a:schemeClr val="tx1">
                  <a:alpha val="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9" rIns="68574" bIns="34289" rtlCol="0" anchor="ctr"/>
          <a:lstStyle/>
          <a:p>
            <a:pPr algn="ctr" defTabSz="685732"/>
            <a:endParaRPr lang="es-ES" sz="1400">
              <a:solidFill>
                <a:srgbClr val="FFFFFF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6100" y="4064570"/>
            <a:ext cx="3586813" cy="883447"/>
          </a:xfrm>
          <a:prstGeom prst="rect">
            <a:avLst/>
          </a:prstGeom>
        </p:spPr>
      </p:pic>
      <p:pic>
        <p:nvPicPr>
          <p:cNvPr id="4" name="3 Imagen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313" y="195487"/>
            <a:ext cx="1563638" cy="1563638"/>
          </a:xfrm>
          <a:prstGeom prst="rect">
            <a:avLst/>
          </a:prstGeom>
        </p:spPr>
      </p:pic>
      <p:sp>
        <p:nvSpPr>
          <p:cNvPr id="13" name="Espace réservé du texte 1">
            <a:extLst>
              <a:ext uri="{FF2B5EF4-FFF2-40B4-BE49-F238E27FC236}">
                <a16:creationId xmlns="" xmlns:a16="http://schemas.microsoft.com/office/drawing/2014/main" id="{3E61A40D-4439-4E82-955B-FC636EF3CC80}"/>
              </a:ext>
            </a:extLst>
          </p:cNvPr>
          <p:cNvSpPr txBox="1">
            <a:spLocks/>
          </p:cNvSpPr>
          <p:nvPr/>
        </p:nvSpPr>
        <p:spPr>
          <a:xfrm>
            <a:off x="179512" y="915565"/>
            <a:ext cx="4450417" cy="843559"/>
          </a:xfrm>
          <a:prstGeom prst="rect">
            <a:avLst/>
          </a:prstGeom>
        </p:spPr>
        <p:txBody>
          <a:bodyPr lIns="68574" tIns="34289" rIns="68574" bIns="34289" anchor="ctr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6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32"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02. </a:t>
            </a:r>
            <a:r>
              <a:rPr lang="en-US" sz="1400" dirty="0" err="1" smtClean="0">
                <a:solidFill>
                  <a:srgbClr val="FFFFFF"/>
                </a:solidFill>
              </a:rPr>
              <a:t>Sintáxis</a:t>
            </a:r>
            <a:endParaRPr lang="en-US" sz="1400" dirty="0" smtClean="0">
              <a:solidFill>
                <a:srgbClr val="FFFFFF"/>
              </a:solidFill>
            </a:endParaRPr>
          </a:p>
          <a:p>
            <a:pPr defTabSz="685732"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      </a:t>
            </a:r>
            <a:r>
              <a:rPr lang="en-US" sz="1400" dirty="0" err="1" smtClean="0">
                <a:solidFill>
                  <a:srgbClr val="FFFFFF"/>
                </a:solidFill>
              </a:rPr>
              <a:t>Tipo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</a:rPr>
              <a:t>básicos</a:t>
            </a:r>
            <a:r>
              <a:rPr lang="en-US" sz="1400" dirty="0" smtClean="0">
                <a:solidFill>
                  <a:srgbClr val="FFFFFF"/>
                </a:solidFill>
              </a:rPr>
              <a:t> de </a:t>
            </a:r>
            <a:r>
              <a:rPr lang="en-US" sz="1400" dirty="0" err="1" smtClean="0">
                <a:solidFill>
                  <a:srgbClr val="FFFFFF"/>
                </a:solidFill>
              </a:rPr>
              <a:t>datos</a:t>
            </a:r>
            <a:r>
              <a:rPr lang="en-US" sz="1400" dirty="0" smtClean="0">
                <a:solidFill>
                  <a:srgbClr val="FFFFFF"/>
                </a:solidFill>
              </a:rPr>
              <a:t> y </a:t>
            </a:r>
            <a:r>
              <a:rPr lang="en-US" sz="1400" dirty="0" err="1" smtClean="0">
                <a:solidFill>
                  <a:srgbClr val="FFFFFF"/>
                </a:solidFill>
              </a:rPr>
              <a:t>operadore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</a:p>
          <a:p>
            <a:pPr defTabSz="685732"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      </a:t>
            </a:r>
            <a:r>
              <a:rPr lang="en-US" sz="1400" dirty="0" err="1" smtClean="0">
                <a:solidFill>
                  <a:srgbClr val="FFFFFF"/>
                </a:solidFill>
              </a:rPr>
              <a:t>Funciones</a:t>
            </a:r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002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1800" dirty="0" smtClean="0"/>
              <a:t>2.1 Sintaxis</a:t>
            </a:r>
            <a:endParaRPr lang="es-ES" sz="180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s-ES" dirty="0"/>
              <a:t>Introducción a Python orientado a ASD</a:t>
            </a:r>
          </a:p>
          <a:p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83568" y="1491630"/>
            <a:ext cx="6840760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s-ES" dirty="0" smtClean="0"/>
              <a:t>2.1.1 Identificadores</a:t>
            </a:r>
            <a:endParaRPr lang="es-ES" dirty="0"/>
          </a:p>
          <a:p>
            <a:pPr lvl="1"/>
            <a:r>
              <a:rPr lang="es-ES" dirty="0" smtClean="0"/>
              <a:t>2.1.2 Palabras </a:t>
            </a:r>
            <a:r>
              <a:rPr lang="es-ES" dirty="0"/>
              <a:t>reservadas</a:t>
            </a:r>
          </a:p>
          <a:p>
            <a:pPr lvl="1"/>
            <a:r>
              <a:rPr lang="es-ES" dirty="0" smtClean="0"/>
              <a:t>2.1.3 Sentencias, líneas </a:t>
            </a:r>
            <a:r>
              <a:rPr lang="es-ES" dirty="0"/>
              <a:t>e </a:t>
            </a:r>
            <a:r>
              <a:rPr lang="es-ES" dirty="0" err="1"/>
              <a:t>indentación</a:t>
            </a:r>
            <a:endParaRPr lang="es-ES" dirty="0"/>
          </a:p>
          <a:p>
            <a:pPr lvl="1"/>
            <a:r>
              <a:rPr lang="es-ES" dirty="0" smtClean="0"/>
              <a:t>2.1.4 Sentencias </a:t>
            </a:r>
            <a:r>
              <a:rPr lang="es-ES" dirty="0" err="1" smtClean="0"/>
              <a:t>multilínea</a:t>
            </a:r>
            <a:endParaRPr lang="es-ES" dirty="0"/>
          </a:p>
          <a:p>
            <a:pPr lvl="1"/>
            <a:r>
              <a:rPr lang="es-ES" dirty="0" smtClean="0"/>
              <a:t>2.1.5 Comentarios</a:t>
            </a:r>
          </a:p>
          <a:p>
            <a:pPr lvl="1"/>
            <a:r>
              <a:rPr lang="es-ES" dirty="0" smtClean="0"/>
              <a:t>2.1.6 Entrada </a:t>
            </a:r>
            <a:r>
              <a:rPr lang="es-ES" dirty="0"/>
              <a:t>y </a:t>
            </a:r>
            <a:r>
              <a:rPr lang="es-ES" dirty="0" smtClean="0"/>
              <a:t>salida</a:t>
            </a:r>
          </a:p>
          <a:p>
            <a:pPr lvl="1"/>
            <a:r>
              <a:rPr lang="es-ES" dirty="0" smtClean="0"/>
              <a:t>2.1.7 PEP 8. Guía de estilo</a:t>
            </a:r>
            <a:endParaRPr lang="es-E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000" dirty="0"/>
          </a:p>
        </p:txBody>
      </p:sp>
    </p:spTree>
    <p:extLst>
      <p:ext uri="{BB962C8B-B14F-4D97-AF65-F5344CB8AC3E}">
        <p14:creationId xmlns:p14="http://schemas.microsoft.com/office/powerpoint/2010/main" val="3157982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1800" dirty="0" smtClean="0"/>
              <a:t>2.2 Tipos básicos de datos y operadores</a:t>
            </a:r>
            <a:endParaRPr lang="es-ES" sz="180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s-ES" dirty="0"/>
              <a:t>Introducción a Python orientado a ASD</a:t>
            </a:r>
          </a:p>
          <a:p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83568" y="1491630"/>
            <a:ext cx="7704856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s-ES" dirty="0" smtClean="0"/>
              <a:t>2.2.1 Asignar valores a variables</a:t>
            </a:r>
          </a:p>
          <a:p>
            <a:pPr lvl="1"/>
            <a:r>
              <a:rPr lang="es-ES" dirty="0" smtClean="0"/>
              <a:t>2.2.2 Variables </a:t>
            </a:r>
            <a:r>
              <a:rPr lang="es-ES" dirty="0"/>
              <a:t>y operaciones numéricas</a:t>
            </a:r>
          </a:p>
          <a:p>
            <a:pPr lvl="1"/>
            <a:r>
              <a:rPr lang="es-ES" dirty="0" smtClean="0"/>
              <a:t>2.2.3 Variables </a:t>
            </a:r>
            <a:r>
              <a:rPr lang="es-ES" dirty="0"/>
              <a:t>y operaciones con </a:t>
            </a:r>
            <a:r>
              <a:rPr lang="es-ES" dirty="0" smtClean="0"/>
              <a:t>cadenas</a:t>
            </a:r>
          </a:p>
          <a:p>
            <a:pPr lvl="1"/>
            <a:r>
              <a:rPr lang="es-ES" dirty="0" smtClean="0"/>
              <a:t>2.2.4 Variables Booleanas, operadores lógicos y relacionales</a:t>
            </a:r>
          </a:p>
          <a:p>
            <a:pPr lvl="1"/>
            <a:r>
              <a:rPr lang="es-ES" dirty="0" smtClean="0"/>
              <a:t>2.2.5 </a:t>
            </a:r>
            <a:r>
              <a:rPr lang="es-ES" dirty="0" err="1" smtClean="0"/>
              <a:t>Type</a:t>
            </a:r>
            <a:r>
              <a:rPr lang="es-ES" dirty="0" smtClean="0"/>
              <a:t> y Castings</a:t>
            </a:r>
            <a:endParaRPr lang="es-ES" dirty="0"/>
          </a:p>
          <a:p>
            <a:pPr marL="799910" lvl="1" indent="-342900">
              <a:buFont typeface="+mj-lt"/>
              <a:buAutoNum type="arabicPeriod"/>
            </a:pPr>
            <a:endParaRPr lang="es-E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000" dirty="0"/>
          </a:p>
        </p:txBody>
      </p:sp>
    </p:spTree>
    <p:extLst>
      <p:ext uri="{BB962C8B-B14F-4D97-AF65-F5344CB8AC3E}">
        <p14:creationId xmlns:p14="http://schemas.microsoft.com/office/powerpoint/2010/main" val="2025366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1800" dirty="0" smtClean="0"/>
              <a:t>2.3 Funciones</a:t>
            </a:r>
            <a:endParaRPr lang="es-ES" sz="180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s-ES" dirty="0"/>
              <a:t>Introducción a Python orientado a ASD</a:t>
            </a:r>
          </a:p>
          <a:p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83568" y="1491630"/>
            <a:ext cx="684076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s-ES" dirty="0" smtClean="0"/>
              <a:t>2.3.1 ¿Qué </a:t>
            </a:r>
            <a:r>
              <a:rPr lang="es-ES" dirty="0"/>
              <a:t>son las funciones?</a:t>
            </a:r>
          </a:p>
          <a:p>
            <a:pPr lvl="1"/>
            <a:r>
              <a:rPr lang="es-ES" smtClean="0"/>
              <a:t>2.3.2 </a:t>
            </a:r>
            <a:r>
              <a:rPr lang="es-ES" smtClean="0"/>
              <a:t>Definir </a:t>
            </a:r>
            <a:r>
              <a:rPr lang="es-ES" dirty="0"/>
              <a:t>funcion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000" dirty="0"/>
          </a:p>
        </p:txBody>
      </p:sp>
    </p:spTree>
    <p:extLst>
      <p:ext uri="{BB962C8B-B14F-4D97-AF65-F5344CB8AC3E}">
        <p14:creationId xmlns:p14="http://schemas.microsoft.com/office/powerpoint/2010/main" val="4177029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ción1" id="{052EE8AA-76EF-4748-835F-A6D187923361}" vid="{370F8B8F-388E-40AB-AD36-3D6D6E70E5A2}"/>
    </a:ext>
  </a:extLst>
</a:theme>
</file>

<file path=ppt/theme/theme2.xml><?xml version="1.0" encoding="utf-8"?>
<a:theme xmlns:a="http://schemas.openxmlformats.org/drawingml/2006/main" name="2_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ción1" id="{052EE8AA-76EF-4748-835F-A6D187923361}" vid="{370F8B8F-388E-40AB-AD36-3D6D6E70E5A2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60</TotalTime>
  <Words>116</Words>
  <Application>Microsoft Office PowerPoint</Application>
  <PresentationFormat>Presentación en pantalla (16:9)</PresentationFormat>
  <Paragraphs>26</Paragraphs>
  <Slides>4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7" baseType="lpstr">
      <vt:lpstr>1_Capgemini Master</vt:lpstr>
      <vt:lpstr>2_Capgemini Master</vt:lpstr>
      <vt:lpstr>think-cell Slide</vt:lpstr>
      <vt:lpstr>Presentación de PowerPoint</vt:lpstr>
      <vt:lpstr>2.1 Sintaxis</vt:lpstr>
      <vt:lpstr>2.2 Tipos básicos de datos y operadores</vt:lpstr>
      <vt:lpstr>2.3 Funcion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varisto Cuesta Guzmán</dc:creator>
  <cp:lastModifiedBy>Evaristo Cuesta Guzmán</cp:lastModifiedBy>
  <cp:revision>55</cp:revision>
  <dcterms:created xsi:type="dcterms:W3CDTF">2021-05-09T09:28:54Z</dcterms:created>
  <dcterms:modified xsi:type="dcterms:W3CDTF">2021-05-22T19:04:00Z</dcterms:modified>
</cp:coreProperties>
</file>